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6" r:id="rId1"/>
  </p:sldMasterIdLst>
  <p:sldIdLst>
    <p:sldId id="276" r:id="rId2"/>
    <p:sldId id="280" r:id="rId3"/>
    <p:sldId id="281" r:id="rId4"/>
    <p:sldId id="267" r:id="rId5"/>
    <p:sldId id="257" r:id="rId6"/>
    <p:sldId id="286" r:id="rId7"/>
    <p:sldId id="282" r:id="rId8"/>
    <p:sldId id="284" r:id="rId9"/>
    <p:sldId id="283" r:id="rId10"/>
    <p:sldId id="269" r:id="rId11"/>
    <p:sldId id="270" r:id="rId12"/>
    <p:sldId id="271" r:id="rId13"/>
    <p:sldId id="272" r:id="rId14"/>
    <p:sldId id="273" r:id="rId15"/>
    <p:sldId id="285" r:id="rId16"/>
    <p:sldId id="274" r:id="rId17"/>
    <p:sldId id="279" r:id="rId18"/>
    <p:sldId id="277" r:id="rId19"/>
    <p:sldId id="278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71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ishprak\Desktop\miniproject\talend_op\arrival_delay.xls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ishprak\Desktop\miniproject\talend_op\flight_count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ARRIVAL_DELA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Sheet1!$B$2:$B$15</c:f>
              <c:strCache>
                <c:ptCount val="14"/>
                <c:pt idx="0">
                  <c:v>American Airlines</c:v>
                </c:pt>
                <c:pt idx="1">
                  <c:v>Hawaiian Airlines</c:v>
                </c:pt>
                <c:pt idx="2">
                  <c:v>Delta Airlines</c:v>
                </c:pt>
                <c:pt idx="3">
                  <c:v>American Eagle Airlines</c:v>
                </c:pt>
                <c:pt idx="4">
                  <c:v>Frontier Airlines</c:v>
                </c:pt>
                <c:pt idx="5">
                  <c:v>SkyWest Airlines</c:v>
                </c:pt>
                <c:pt idx="6">
                  <c:v>JetBlue Airways</c:v>
                </c:pt>
                <c:pt idx="7">
                  <c:v>United Airlines Inc</c:v>
                </c:pt>
                <c:pt idx="8">
                  <c:v>Alaska Airlines Inc</c:v>
                </c:pt>
                <c:pt idx="9">
                  <c:v>Atlantic SouthEast Airlines</c:v>
                </c:pt>
                <c:pt idx="10">
                  <c:v>US Airways</c:v>
                </c:pt>
                <c:pt idx="11">
                  <c:v>Spirit Airlines</c:v>
                </c:pt>
                <c:pt idx="12">
                  <c:v>SouthWest Airlines</c:v>
                </c:pt>
                <c:pt idx="13">
                  <c:v>Virgin America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1971</c:v>
                </c:pt>
                <c:pt idx="1">
                  <c:v>1467</c:v>
                </c:pt>
                <c:pt idx="2">
                  <c:v>1177</c:v>
                </c:pt>
                <c:pt idx="3">
                  <c:v>1152</c:v>
                </c:pt>
                <c:pt idx="4">
                  <c:v>1005</c:v>
                </c:pt>
                <c:pt idx="5">
                  <c:v>953</c:v>
                </c:pt>
                <c:pt idx="6">
                  <c:v>952</c:v>
                </c:pt>
                <c:pt idx="7">
                  <c:v>863</c:v>
                </c:pt>
                <c:pt idx="8">
                  <c:v>729</c:v>
                </c:pt>
                <c:pt idx="9">
                  <c:v>723</c:v>
                </c:pt>
                <c:pt idx="10">
                  <c:v>711</c:v>
                </c:pt>
                <c:pt idx="11">
                  <c:v>631</c:v>
                </c:pt>
                <c:pt idx="12">
                  <c:v>593</c:v>
                </c:pt>
                <c:pt idx="13">
                  <c:v>57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50374368"/>
        <c:axId val="350372016"/>
        <c:axId val="0"/>
      </c:bar3DChart>
      <c:catAx>
        <c:axId val="350374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0372016"/>
        <c:crosses val="autoZero"/>
        <c:auto val="1"/>
        <c:lblAlgn val="ctr"/>
        <c:lblOffset val="100"/>
        <c:noMultiLvlLbl val="0"/>
      </c:catAx>
      <c:valAx>
        <c:axId val="35037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03743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 smtClean="0"/>
              <a:t>Avg_ARRIVAL_DELAY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RIVAL_DELA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  <a:sp3d/>
          </c:spPr>
          <c:invertIfNegative val="0"/>
          <c:cat>
            <c:strRef>
              <c:f>Sheet1!$A$2:$A$15</c:f>
              <c:strCache>
                <c:ptCount val="14"/>
                <c:pt idx="0">
                  <c:v>Frontier Airlines</c:v>
                </c:pt>
                <c:pt idx="1">
                  <c:v>American Eagle Airlines</c:v>
                </c:pt>
                <c:pt idx="2">
                  <c:v>Spirit Airlines</c:v>
                </c:pt>
                <c:pt idx="3">
                  <c:v>JetBlue Airways</c:v>
                </c:pt>
                <c:pt idx="4">
                  <c:v>Atlantic SouthEast Airlines</c:v>
                </c:pt>
                <c:pt idx="5">
                  <c:v>SkyWest Airlines</c:v>
                </c:pt>
                <c:pt idx="6">
                  <c:v>American Airlines</c:v>
                </c:pt>
                <c:pt idx="7">
                  <c:v>United Airlines Inc</c:v>
                </c:pt>
                <c:pt idx="8">
                  <c:v>US Airways</c:v>
                </c:pt>
                <c:pt idx="9">
                  <c:v>Virgin America</c:v>
                </c:pt>
                <c:pt idx="10">
                  <c:v>Hawaiian Airlines</c:v>
                </c:pt>
                <c:pt idx="11">
                  <c:v>SouthWest Airlines</c:v>
                </c:pt>
                <c:pt idx="12">
                  <c:v>Delta Airlines</c:v>
                </c:pt>
                <c:pt idx="13">
                  <c:v>Alaska Airlines Inc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24</c:v>
                </c:pt>
                <c:pt idx="1">
                  <c:v>20</c:v>
                </c:pt>
                <c:pt idx="2">
                  <c:v>14</c:v>
                </c:pt>
                <c:pt idx="3">
                  <c:v>13</c:v>
                </c:pt>
                <c:pt idx="4">
                  <c:v>10</c:v>
                </c:pt>
                <c:pt idx="5">
                  <c:v>9</c:v>
                </c:pt>
                <c:pt idx="6">
                  <c:v>8</c:v>
                </c:pt>
                <c:pt idx="7">
                  <c:v>7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3</c:v>
                </c:pt>
                <c:pt idx="12">
                  <c:v>2</c:v>
                </c:pt>
                <c:pt idx="13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01507072"/>
        <c:axId val="301507464"/>
        <c:axId val="0"/>
      </c:bar3DChart>
      <c:catAx>
        <c:axId val="301507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1507464"/>
        <c:crosses val="autoZero"/>
        <c:auto val="1"/>
        <c:lblAlgn val="ctr"/>
        <c:lblOffset val="100"/>
        <c:noMultiLvlLbl val="0"/>
      </c:catAx>
      <c:valAx>
        <c:axId val="3015074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150707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flight_count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3"/>
            <c:bubble3D val="0"/>
            <c:spPr>
              <a:solidFill>
                <a:schemeClr val="accent2">
                  <a:lumMod val="80000"/>
                  <a:lumOff val="2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cat>
            <c:strRef>
              <c:f>Sheet1!$A$2:$A$15</c:f>
              <c:strCache>
                <c:ptCount val="14"/>
                <c:pt idx="0">
                  <c:v>Alaska Airlines Inc</c:v>
                </c:pt>
                <c:pt idx="1">
                  <c:v>American Airlines</c:v>
                </c:pt>
                <c:pt idx="2">
                  <c:v>American Eagle Airlines</c:v>
                </c:pt>
                <c:pt idx="3">
                  <c:v>Atlantic SouthEast Airlines</c:v>
                </c:pt>
                <c:pt idx="4">
                  <c:v>Delta Airlines</c:v>
                </c:pt>
                <c:pt idx="5">
                  <c:v>Frontier Airlines</c:v>
                </c:pt>
                <c:pt idx="6">
                  <c:v>Hawaiian Airlines</c:v>
                </c:pt>
                <c:pt idx="7">
                  <c:v>JetBlue Airways</c:v>
                </c:pt>
                <c:pt idx="8">
                  <c:v>SkyWest Airlines</c:v>
                </c:pt>
                <c:pt idx="9">
                  <c:v>SouthWest Airlines</c:v>
                </c:pt>
                <c:pt idx="10">
                  <c:v>Spirit Airlines</c:v>
                </c:pt>
                <c:pt idx="11">
                  <c:v>US Airways</c:v>
                </c:pt>
                <c:pt idx="12">
                  <c:v>United Airlines Inc</c:v>
                </c:pt>
                <c:pt idx="13">
                  <c:v>Virgin America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29428</c:v>
                </c:pt>
                <c:pt idx="1">
                  <c:v>92948</c:v>
                </c:pt>
                <c:pt idx="2">
                  <c:v>57999</c:v>
                </c:pt>
                <c:pt idx="3">
                  <c:v>105084</c:v>
                </c:pt>
                <c:pt idx="4">
                  <c:v>144689</c:v>
                </c:pt>
                <c:pt idx="5">
                  <c:v>14450</c:v>
                </c:pt>
                <c:pt idx="6">
                  <c:v>14105</c:v>
                </c:pt>
                <c:pt idx="7">
                  <c:v>45541</c:v>
                </c:pt>
                <c:pt idx="8">
                  <c:v>104294</c:v>
                </c:pt>
                <c:pt idx="9">
                  <c:v>215070</c:v>
                </c:pt>
                <c:pt idx="10">
                  <c:v>19164</c:v>
                </c:pt>
                <c:pt idx="11">
                  <c:v>70885</c:v>
                </c:pt>
                <c:pt idx="12">
                  <c:v>85270</c:v>
                </c:pt>
                <c:pt idx="13">
                  <c:v>10133</c:v>
                </c:pt>
              </c:numCache>
            </c:numRef>
          </c:val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flight_count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3"/>
            <c:bubble3D val="0"/>
            <c:spPr>
              <a:solidFill>
                <a:schemeClr val="accent2">
                  <a:lumMod val="80000"/>
                  <a:lumOff val="2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cat>
            <c:strRef>
              <c:f>Sheet1!$A$2:$A$15</c:f>
              <c:strCache>
                <c:ptCount val="14"/>
                <c:pt idx="0">
                  <c:v>Alaska Airlines Inc</c:v>
                </c:pt>
                <c:pt idx="1">
                  <c:v>American Airlines</c:v>
                </c:pt>
                <c:pt idx="2">
                  <c:v>American Eagle Airlines</c:v>
                </c:pt>
                <c:pt idx="3">
                  <c:v>Atlantic SouthEast Airlines</c:v>
                </c:pt>
                <c:pt idx="4">
                  <c:v>Delta Airlines</c:v>
                </c:pt>
                <c:pt idx="5">
                  <c:v>Frontier Airlines</c:v>
                </c:pt>
                <c:pt idx="6">
                  <c:v>Hawaiian Airlines</c:v>
                </c:pt>
                <c:pt idx="7">
                  <c:v>JetBlue Airways</c:v>
                </c:pt>
                <c:pt idx="8">
                  <c:v>SkyWest Airlines</c:v>
                </c:pt>
                <c:pt idx="9">
                  <c:v>SouthWest Airlines</c:v>
                </c:pt>
                <c:pt idx="10">
                  <c:v>Spirit Airlines</c:v>
                </c:pt>
                <c:pt idx="11">
                  <c:v>US Airways</c:v>
                </c:pt>
                <c:pt idx="12">
                  <c:v>United Airlines Inc</c:v>
                </c:pt>
                <c:pt idx="13">
                  <c:v>Virgin America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29428</c:v>
                </c:pt>
                <c:pt idx="1">
                  <c:v>92948</c:v>
                </c:pt>
                <c:pt idx="2">
                  <c:v>57999</c:v>
                </c:pt>
                <c:pt idx="3">
                  <c:v>105084</c:v>
                </c:pt>
                <c:pt idx="4">
                  <c:v>144689</c:v>
                </c:pt>
                <c:pt idx="5">
                  <c:v>14450</c:v>
                </c:pt>
                <c:pt idx="6">
                  <c:v>14105</c:v>
                </c:pt>
                <c:pt idx="7">
                  <c:v>45541</c:v>
                </c:pt>
                <c:pt idx="8">
                  <c:v>104294</c:v>
                </c:pt>
                <c:pt idx="9">
                  <c:v>215070</c:v>
                </c:pt>
                <c:pt idx="10">
                  <c:v>19164</c:v>
                </c:pt>
                <c:pt idx="11">
                  <c:v>70885</c:v>
                </c:pt>
                <c:pt idx="12">
                  <c:v>85270</c:v>
                </c:pt>
                <c:pt idx="13">
                  <c:v>1013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F2EEF7-B1AD-4DFE-82BD-95AA2031E16D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7B0D3F-07E9-4210-9E42-9C589ACB174C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26008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F2EEF7-B1AD-4DFE-82BD-95AA2031E16D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7B0D3F-07E9-4210-9E42-9C589ACB17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3251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2302"/>
            <a:ext cx="2628900" cy="575989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F2EEF7-B1AD-4DFE-82BD-95AA2031E16D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7B0D3F-07E9-4210-9E42-9C589ACB17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89967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 21">
            <a:extLst>
              <a:ext uri="{FF2B5EF4-FFF2-40B4-BE49-F238E27FC236}">
                <a16:creationId xmlns="" xmlns:a16="http://schemas.microsoft.com/office/drawing/2014/main" id="{3DB2FB67-77DB-4CBD-9C92-DA7BCA020134}"/>
              </a:ext>
            </a:extLst>
          </p:cNvPr>
          <p:cNvGrpSpPr/>
          <p:nvPr userDrawn="1"/>
        </p:nvGrpSpPr>
        <p:grpSpPr>
          <a:xfrm>
            <a:off x="4632000" y="-23150"/>
            <a:ext cx="7560000" cy="6874296"/>
            <a:chOff x="3847179" y="1294078"/>
            <a:chExt cx="4118037" cy="3744526"/>
          </a:xfrm>
        </p:grpSpPr>
        <p:sp>
          <p:nvSpPr>
            <p:cNvPr id="23" name="Forme libre : forme 22">
              <a:extLst>
                <a:ext uri="{FF2B5EF4-FFF2-40B4-BE49-F238E27FC236}">
                  <a16:creationId xmlns="" xmlns:a16="http://schemas.microsoft.com/office/drawing/2014/main" id="{7B3D07D9-2D6C-4A90-84F6-F3E3AEFB2EA9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="" xmlns:a16="http://schemas.microsoft.com/office/drawing/2014/main" id="{9445503A-D671-42FD-8762-A4BB0BDDD6B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92000" y="549001"/>
            <a:ext cx="5392948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24001" y="4599973"/>
            <a:ext cx="3096000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6000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299469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F2EEF7-B1AD-4DFE-82BD-95AA2031E16D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7B0D3F-07E9-4210-9E42-9C589ACB17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00285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F2EEF7-B1AD-4DFE-82BD-95AA2031E16D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7B0D3F-07E9-4210-9E42-9C589ACB174C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52870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8" y="1845734"/>
            <a:ext cx="4937760" cy="40233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F2EEF7-B1AD-4DFE-82BD-95AA2031E16D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7B0D3F-07E9-4210-9E42-9C589ACB17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65260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F2EEF7-B1AD-4DFE-82BD-95AA2031E16D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7B0D3F-07E9-4210-9E42-9C589ACB17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8669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F2EEF7-B1AD-4DFE-82BD-95AA2031E16D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7B0D3F-07E9-4210-9E42-9C589ACB17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5715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F2EEF7-B1AD-4DFE-82BD-95AA2031E16D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7B0D3F-07E9-4210-9E42-9C589ACB17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94815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2CF2EEF7-B1AD-4DFE-82BD-95AA2031E16D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E7B0D3F-07E9-4210-9E42-9C589ACB17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18033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F2EEF7-B1AD-4DFE-82BD-95AA2031E16D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7B0D3F-07E9-4210-9E42-9C589ACB17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6221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6334316"/>
            <a:ext cx="12191985" cy="664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2CF2EEF7-B1AD-4DFE-82BD-95AA2031E16D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5E7B0D3F-07E9-4210-9E42-9C589ACB174C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3966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jp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fif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="" xmlns:a16="http://schemas.microsoft.com/office/drawing/2014/main" id="{61B8B409-591E-4F4C-BDA2-E292A2B3E0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18412" y="344285"/>
            <a:ext cx="5392948" cy="2058654"/>
          </a:xfrm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nalysis Of Flight Delay And Cancellation (2015)</a:t>
            </a:r>
            <a:endParaRPr lang="en-US" sz="4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" name="Sous-titre 2">
            <a:extLst>
              <a:ext uri="{FF2B5EF4-FFF2-40B4-BE49-F238E27FC236}">
                <a16:creationId xmlns="" xmlns:a16="http://schemas.microsoft.com/office/drawing/2014/main" id="{B479E337-09CA-4F50-9067-64D4BC4D4C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93591" y="3996520"/>
            <a:ext cx="3096000" cy="682984"/>
          </a:xfrm>
        </p:spPr>
        <p:txBody>
          <a:bodyPr>
            <a:normAutofit/>
          </a:bodyPr>
          <a:lstStyle/>
          <a:p>
            <a:pPr algn="l">
              <a:lnSpc>
                <a:spcPct val="100000"/>
              </a:lnSpc>
            </a:pPr>
            <a:r>
              <a:rPr lang="en-US" sz="1800" dirty="0" smtClean="0">
                <a:solidFill>
                  <a:schemeClr val="tx1"/>
                </a:solidFill>
                <a:latin typeface="Arial Black" panose="020B0A04020102020204" pitchFamily="34" charset="0"/>
              </a:rPr>
              <a:t>Presented by:</a:t>
            </a:r>
          </a:p>
          <a:p>
            <a:pPr algn="l">
              <a:lnSpc>
                <a:spcPct val="100000"/>
              </a:lnSpc>
            </a:pPr>
            <a:r>
              <a:rPr lang="en-US" sz="1800" dirty="0" smtClean="0">
                <a:solidFill>
                  <a:schemeClr val="tx1"/>
                </a:solidFill>
                <a:latin typeface="Arial Black" panose="020B0A04020102020204" pitchFamily="34" charset="0"/>
              </a:rPr>
              <a:t>J. Sri Lakshmi</a:t>
            </a:r>
          </a:p>
        </p:txBody>
      </p:sp>
    </p:spTree>
    <p:extLst>
      <p:ext uri="{BB962C8B-B14F-4D97-AF65-F5344CB8AC3E}">
        <p14:creationId xmlns:p14="http://schemas.microsoft.com/office/powerpoint/2010/main" val="85230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51" y="500038"/>
            <a:ext cx="2980849" cy="227654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590" y="4123835"/>
            <a:ext cx="2945528" cy="165735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3733" y="4583885"/>
            <a:ext cx="3121152" cy="124968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73038" y="1538512"/>
            <a:ext cx="6942161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 smtClean="0"/>
              <a:t>Hive and </a:t>
            </a:r>
            <a:r>
              <a:rPr lang="en-GB" sz="2400" dirty="0" err="1" smtClean="0"/>
              <a:t>Talend</a:t>
            </a:r>
            <a:r>
              <a:rPr lang="en-GB" sz="2400" dirty="0" smtClean="0"/>
              <a:t> was used in</a:t>
            </a:r>
          </a:p>
          <a:p>
            <a:r>
              <a:rPr lang="en-GB" sz="2400" dirty="0" smtClean="0"/>
              <a:t>    analysing the dat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Hive uses HQL (Hive Query Language) to </a:t>
            </a:r>
          </a:p>
          <a:p>
            <a:r>
              <a:rPr lang="en-US" sz="2400" dirty="0" smtClean="0"/>
              <a:t>     retrieve data from large dataset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 smtClean="0"/>
              <a:t>Talend</a:t>
            </a:r>
            <a:r>
              <a:rPr lang="en-US" sz="2400" dirty="0" smtClean="0"/>
              <a:t> was also used in querying and gaining </a:t>
            </a:r>
          </a:p>
          <a:p>
            <a:r>
              <a:rPr lang="en-US" sz="2400" dirty="0" smtClean="0"/>
              <a:t>    insights into the data    </a:t>
            </a:r>
          </a:p>
          <a:p>
            <a:endParaRPr lang="en-US" dirty="0" smtClean="0"/>
          </a:p>
        </p:txBody>
      </p:sp>
      <p:sp>
        <p:nvSpPr>
          <p:cNvPr id="6" name="Rectangle 5"/>
          <p:cNvSpPr/>
          <p:nvPr/>
        </p:nvSpPr>
        <p:spPr>
          <a:xfrm>
            <a:off x="799921" y="735568"/>
            <a:ext cx="37584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dirty="0" smtClean="0">
                <a:solidFill>
                  <a:srgbClr val="7030A0"/>
                </a:solidFill>
              </a:rPr>
              <a:t>Analyzing the data</a:t>
            </a:r>
            <a:endParaRPr lang="en-US" sz="3600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968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66956" y="583021"/>
            <a:ext cx="413233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dirty="0" smtClean="0">
                <a:solidFill>
                  <a:srgbClr val="7030A0"/>
                </a:solidFill>
              </a:rPr>
              <a:t>Highest arrival delay</a:t>
            </a:r>
            <a:endParaRPr lang="en-US" sz="3600" dirty="0">
              <a:solidFill>
                <a:srgbClr val="7030A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66956" y="1505003"/>
            <a:ext cx="1123210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 smtClean="0">
                <a:solidFill>
                  <a:schemeClr val="tx1"/>
                </a:solidFill>
              </a:rPr>
              <a:t>In the year 2015 American Airlines registered an arrival  delay of about 2000 </a:t>
            </a:r>
            <a:r>
              <a:rPr lang="en-GB" sz="2400" dirty="0" err="1" smtClean="0">
                <a:solidFill>
                  <a:schemeClr val="tx1"/>
                </a:solidFill>
              </a:rPr>
              <a:t>mins</a:t>
            </a:r>
            <a:r>
              <a:rPr lang="en-GB" sz="2400" dirty="0" smtClean="0">
                <a:solidFill>
                  <a:schemeClr val="tx1"/>
                </a:solidFill>
              </a:rPr>
              <a:t> for the flight number 125 going from BHM to DFW. These are the max delay registered by each airline company during the same duration.</a:t>
            </a:r>
            <a:endParaRPr lang="en-GB" sz="2400" dirty="0">
              <a:solidFill>
                <a:schemeClr val="tx1"/>
              </a:solidFill>
            </a:endParaRPr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19601500"/>
              </p:ext>
            </p:extLst>
          </p:nvPr>
        </p:nvGraphicFramePr>
        <p:xfrm>
          <a:off x="838200" y="2811439"/>
          <a:ext cx="10380260" cy="3665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02144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/>
          <p:nvPr/>
        </p:nvPicPr>
        <p:blipFill>
          <a:blip r:embed="rId2"/>
          <a:stretch>
            <a:fillRect/>
          </a:stretch>
        </p:blipFill>
        <p:spPr>
          <a:xfrm>
            <a:off x="881051" y="2708885"/>
            <a:ext cx="5943600" cy="3610027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881051" y="600615"/>
            <a:ext cx="472817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 smtClean="0">
                <a:solidFill>
                  <a:srgbClr val="7030A0"/>
                </a:solidFill>
              </a:rPr>
              <a:t>Average departure delay</a:t>
            </a:r>
            <a:endParaRPr lang="en-US" sz="3200" dirty="0">
              <a:solidFill>
                <a:srgbClr val="7030A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81051" y="1346973"/>
            <a:ext cx="108423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 smtClean="0">
                <a:solidFill>
                  <a:schemeClr val="tx1"/>
                </a:solidFill>
              </a:rPr>
              <a:t>In the year 2015 Frontier Airlines registered an average departure  delay of about 23 </a:t>
            </a:r>
            <a:r>
              <a:rPr lang="en-GB" sz="2400" dirty="0" err="1" smtClean="0">
                <a:solidFill>
                  <a:schemeClr val="tx1"/>
                </a:solidFill>
              </a:rPr>
              <a:t>mins</a:t>
            </a:r>
            <a:r>
              <a:rPr lang="en-GB" sz="2400" dirty="0" smtClean="0">
                <a:solidFill>
                  <a:schemeClr val="tx1"/>
                </a:solidFill>
              </a:rPr>
              <a:t>, the maximum among all airlines while Hawaiian Airlines registered the lowest average departure delay for the same duration. </a:t>
            </a:r>
            <a:endParaRPr lang="en-US" sz="2400" dirty="0"/>
          </a:p>
        </p:txBody>
      </p:sp>
      <p:pic>
        <p:nvPicPr>
          <p:cNvPr id="5" name="Picture 4"/>
          <p:cNvPicPr/>
          <p:nvPr/>
        </p:nvPicPr>
        <p:blipFill>
          <a:blip r:embed="rId3"/>
          <a:stretch>
            <a:fillRect/>
          </a:stretch>
        </p:blipFill>
        <p:spPr>
          <a:xfrm>
            <a:off x="6929366" y="2905398"/>
            <a:ext cx="4229100" cy="1420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28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77544" y="787737"/>
            <a:ext cx="310735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 smtClean="0">
                <a:solidFill>
                  <a:srgbClr val="7030A0"/>
                </a:solidFill>
              </a:rPr>
              <a:t>Longest routes</a:t>
            </a:r>
            <a:endParaRPr lang="en-US" sz="3200" dirty="0">
              <a:solidFill>
                <a:srgbClr val="7030A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77544" y="1445389"/>
            <a:ext cx="106136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 smtClean="0">
                <a:solidFill>
                  <a:schemeClr val="tx1"/>
                </a:solidFill>
              </a:rPr>
              <a:t>From this data we can infer that the first three airlines are only the ones providing airline services for long routes of over 4900 </a:t>
            </a:r>
            <a:r>
              <a:rPr lang="en-GB" sz="2400" dirty="0" err="1" smtClean="0">
                <a:solidFill>
                  <a:schemeClr val="tx1"/>
                </a:solidFill>
              </a:rPr>
              <a:t>kms</a:t>
            </a:r>
            <a:endParaRPr lang="en-GB" sz="2400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/>
          <p:nvPr/>
        </p:nvPicPr>
        <p:blipFill>
          <a:blip r:embed="rId2"/>
          <a:stretch>
            <a:fillRect/>
          </a:stretch>
        </p:blipFill>
        <p:spPr>
          <a:xfrm>
            <a:off x="8447964" y="2866029"/>
            <a:ext cx="3686175" cy="161043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0845" y="2456597"/>
            <a:ext cx="6791325" cy="3862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053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34493" y="678555"/>
            <a:ext cx="39920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 smtClean="0">
                <a:solidFill>
                  <a:srgbClr val="7030A0"/>
                </a:solidFill>
              </a:rPr>
              <a:t>Average arrival delay</a:t>
            </a:r>
            <a:endParaRPr lang="en-US" sz="3200" dirty="0">
              <a:solidFill>
                <a:srgbClr val="7030A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34492" y="1477708"/>
            <a:ext cx="1057031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 smtClean="0">
                <a:solidFill>
                  <a:schemeClr val="tx1"/>
                </a:solidFill>
              </a:rPr>
              <a:t>In the year 2015 Frontier Airlines registered an average </a:t>
            </a:r>
            <a:r>
              <a:rPr lang="en-GB" sz="2400" dirty="0" smtClean="0"/>
              <a:t>Arrival</a:t>
            </a:r>
            <a:r>
              <a:rPr lang="en-GB" sz="2400" dirty="0" smtClean="0">
                <a:solidFill>
                  <a:schemeClr val="tx1"/>
                </a:solidFill>
              </a:rPr>
              <a:t>  delay of about 23 </a:t>
            </a:r>
            <a:r>
              <a:rPr lang="en-GB" sz="2400" dirty="0" err="1" smtClean="0">
                <a:solidFill>
                  <a:schemeClr val="tx1"/>
                </a:solidFill>
              </a:rPr>
              <a:t>mins</a:t>
            </a:r>
            <a:r>
              <a:rPr lang="en-GB" sz="2400" dirty="0" smtClean="0">
                <a:solidFill>
                  <a:schemeClr val="tx1"/>
                </a:solidFill>
              </a:rPr>
              <a:t>, the maximum among all airlines while Alaska Airlines </a:t>
            </a:r>
            <a:r>
              <a:rPr lang="en-GB" sz="2400" dirty="0" err="1" smtClean="0">
                <a:solidFill>
                  <a:schemeClr val="tx1"/>
                </a:solidFill>
              </a:rPr>
              <a:t>Inc</a:t>
            </a:r>
            <a:r>
              <a:rPr lang="en-GB" sz="2400" dirty="0" smtClean="0">
                <a:solidFill>
                  <a:schemeClr val="tx1"/>
                </a:solidFill>
              </a:rPr>
              <a:t> registered the lowest average </a:t>
            </a:r>
            <a:r>
              <a:rPr lang="en-GB" sz="2400" dirty="0" smtClean="0"/>
              <a:t>Arrival</a:t>
            </a:r>
            <a:r>
              <a:rPr lang="en-GB" sz="2400" dirty="0" smtClean="0">
                <a:solidFill>
                  <a:schemeClr val="tx1"/>
                </a:solidFill>
              </a:rPr>
              <a:t> delay for the same duration. </a:t>
            </a:r>
            <a:endParaRPr lang="en-GB" sz="2400" dirty="0">
              <a:solidFill>
                <a:schemeClr val="tx1"/>
              </a:solidFill>
            </a:endParaRPr>
          </a:p>
        </p:txBody>
      </p:sp>
      <p:pic>
        <p:nvPicPr>
          <p:cNvPr id="4" name="Picture 3"/>
          <p:cNvPicPr/>
          <p:nvPr/>
        </p:nvPicPr>
        <p:blipFill>
          <a:blip r:embed="rId2"/>
          <a:stretch>
            <a:fillRect/>
          </a:stretch>
        </p:blipFill>
        <p:spPr>
          <a:xfrm>
            <a:off x="7890182" y="3084393"/>
            <a:ext cx="3781425" cy="1542197"/>
          </a:xfrm>
          <a:prstGeom prst="rect">
            <a:avLst/>
          </a:prstGeom>
        </p:spPr>
      </p:pic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5040019"/>
              </p:ext>
            </p:extLst>
          </p:nvPr>
        </p:nvGraphicFramePr>
        <p:xfrm>
          <a:off x="620327" y="2892414"/>
          <a:ext cx="7049715" cy="3389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29235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972822" y="391952"/>
            <a:ext cx="419057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srgbClr val="7030A0"/>
                </a:solidFill>
              </a:rPr>
              <a:t>Highest departure delay</a:t>
            </a:r>
          </a:p>
        </p:txBody>
      </p:sp>
      <p:sp>
        <p:nvSpPr>
          <p:cNvPr id="3" name="Rectangle 2"/>
          <p:cNvSpPr/>
          <p:nvPr/>
        </p:nvSpPr>
        <p:spPr>
          <a:xfrm>
            <a:off x="972823" y="1245696"/>
            <a:ext cx="1115477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/>
              <a:t>In the year 2015 American Airlines registered a departure delay of about 1971 </a:t>
            </a:r>
            <a:r>
              <a:rPr lang="en-GB" sz="2400" dirty="0" err="1" smtClean="0"/>
              <a:t>mins</a:t>
            </a:r>
            <a:r>
              <a:rPr lang="en-GB" sz="2400" dirty="0" smtClean="0"/>
              <a:t>. These </a:t>
            </a:r>
            <a:r>
              <a:rPr lang="en-GB" sz="2400" dirty="0"/>
              <a:t>are the max delay registered by each airline company during the same duration. Virgin Airlines here also registered the minimum departure delay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3140" y="2446025"/>
            <a:ext cx="8911988" cy="3809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9366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97430" y="669946"/>
            <a:ext cx="286322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dirty="0">
                <a:solidFill>
                  <a:srgbClr val="7030A0"/>
                </a:solidFill>
              </a:rPr>
              <a:t>Flight Count</a:t>
            </a:r>
          </a:p>
        </p:txBody>
      </p:sp>
      <p:sp>
        <p:nvSpPr>
          <p:cNvPr id="5" name="Rectangle 4"/>
          <p:cNvSpPr/>
          <p:nvPr/>
        </p:nvSpPr>
        <p:spPr>
          <a:xfrm>
            <a:off x="597429" y="1506053"/>
            <a:ext cx="1079740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/>
              <a:t>Southwest airlines owned a majority of flights in the U.S having more than 2 lakh flights traversing between the </a:t>
            </a:r>
            <a:r>
              <a:rPr lang="en-GB" sz="2400" dirty="0" smtClean="0"/>
              <a:t>cities </a:t>
            </a:r>
            <a:r>
              <a:rPr lang="en-GB" sz="2400" dirty="0"/>
              <a:t>of the U.S in the span of 3 months. While Virginia Airlines had the least number of operational flights.</a:t>
            </a:r>
          </a:p>
        </p:txBody>
      </p:sp>
      <p:pic>
        <p:nvPicPr>
          <p:cNvPr id="7" name="Picture 6"/>
          <p:cNvPicPr/>
          <p:nvPr/>
        </p:nvPicPr>
        <p:blipFill>
          <a:blip r:embed="rId2"/>
          <a:stretch>
            <a:fillRect/>
          </a:stretch>
        </p:blipFill>
        <p:spPr>
          <a:xfrm>
            <a:off x="8055109" y="2868862"/>
            <a:ext cx="3162300" cy="1856935"/>
          </a:xfrm>
          <a:prstGeom prst="rect">
            <a:avLst/>
          </a:prstGeom>
        </p:spPr>
      </p:pic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01323683"/>
              </p:ext>
            </p:extLst>
          </p:nvPr>
        </p:nvGraphicFramePr>
        <p:xfrm>
          <a:off x="1530971" y="2706382"/>
          <a:ext cx="5943600" cy="338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00466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98091" y="378304"/>
            <a:ext cx="321979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dirty="0">
                <a:solidFill>
                  <a:srgbClr val="7030A0"/>
                </a:solidFill>
              </a:rPr>
              <a:t>Busiest airport</a:t>
            </a:r>
          </a:p>
        </p:txBody>
      </p:sp>
      <p:sp>
        <p:nvSpPr>
          <p:cNvPr id="3" name="Rectangle 2"/>
          <p:cNvSpPr/>
          <p:nvPr/>
        </p:nvSpPr>
        <p:spPr>
          <a:xfrm>
            <a:off x="298091" y="1275013"/>
            <a:ext cx="1165734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/>
              <a:t>The airport of </a:t>
            </a:r>
            <a:r>
              <a:rPr lang="en-GB" sz="2400" dirty="0" smtClean="0"/>
              <a:t>ATL </a:t>
            </a:r>
            <a:r>
              <a:rPr lang="en-GB" sz="2400" dirty="0"/>
              <a:t>experienced the largest number of flights with the count being above 65000.While ITH just had 4 flights during the period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172" y="2294833"/>
            <a:ext cx="9880979" cy="4024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00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80290" y="796556"/>
            <a:ext cx="276998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4000" dirty="0">
                <a:solidFill>
                  <a:srgbClr val="7030A0"/>
                </a:solidFill>
              </a:rPr>
              <a:t>Few analysis</a:t>
            </a:r>
            <a:endParaRPr lang="en-US" sz="4000" dirty="0">
              <a:solidFill>
                <a:srgbClr val="7030A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80290" y="1443841"/>
            <a:ext cx="1058793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 smtClean="0"/>
              <a:t>Though </a:t>
            </a:r>
            <a:r>
              <a:rPr lang="en-GB" sz="2400" dirty="0"/>
              <a:t>flight count of </a:t>
            </a:r>
            <a:r>
              <a:rPr lang="en-GB" sz="2400" dirty="0" err="1" smtClean="0"/>
              <a:t>SouthWest</a:t>
            </a:r>
            <a:r>
              <a:rPr lang="en-GB" sz="2400" dirty="0" smtClean="0"/>
              <a:t> </a:t>
            </a:r>
            <a:r>
              <a:rPr lang="en-GB" sz="2400" dirty="0"/>
              <a:t>Airlines is the highest its average departure delay and average arrival delay is far less than its highest counterparts. </a:t>
            </a:r>
          </a:p>
          <a:p>
            <a:r>
              <a:rPr lang="en-GB" sz="2400" dirty="0"/>
              <a:t>   Making it more popul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Frontier </a:t>
            </a:r>
            <a:r>
              <a:rPr lang="en-US" sz="2400" dirty="0"/>
              <a:t>Airlines, Virgin America and SkyWest Airlines have focused on smaller rout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Moreover because of operating on shorter routes Virgin America happens to be more punctual on its timing </a:t>
            </a:r>
            <a:r>
              <a:rPr lang="en-GB" sz="2400" dirty="0"/>
              <a:t>having the least arrival and departure delay</a:t>
            </a: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191419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Image result for thank you slides for powerpoint with flight pictur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AutoShape 4" descr="Image result for thank you slides for powerpoint with flight picture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1630" y="1263128"/>
            <a:ext cx="7683690" cy="4352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279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996287" y="1037230"/>
            <a:ext cx="78201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solidFill>
                  <a:srgbClr val="7030A0"/>
                </a:solidFill>
              </a:rPr>
              <a:t>TOOLS USED:</a:t>
            </a:r>
            <a:endParaRPr lang="en-US" sz="3200" dirty="0">
              <a:solidFill>
                <a:srgbClr val="7030A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96287" y="2285895"/>
            <a:ext cx="10920810" cy="2554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3200" dirty="0" smtClean="0"/>
              <a:t>Data Cleaning : TALEND OPEN STUDIO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3200" dirty="0" smtClean="0"/>
              <a:t>Creation Of Dimension And Fact table : TALEND OPEN STUDIO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3200" dirty="0" smtClean="0"/>
              <a:t>Table Creation And Data Loading : CLOUDERA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3200" dirty="0" smtClean="0"/>
              <a:t>Queries Using HIVE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3200" dirty="0" smtClean="0"/>
              <a:t>Data Analysis Using DATABRICKS 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50013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2188066"/>
              </p:ext>
            </p:extLst>
          </p:nvPr>
        </p:nvGraphicFramePr>
        <p:xfrm>
          <a:off x="777922" y="1569492"/>
          <a:ext cx="2333768" cy="1392071"/>
        </p:xfrm>
        <a:graphic>
          <a:graphicData uri="http://schemas.openxmlformats.org/drawingml/2006/table">
            <a:tbl>
              <a:tblPr/>
              <a:tblGrid>
                <a:gridCol w="2333768"/>
              </a:tblGrid>
              <a:tr h="1392071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Data Cleaning Process Using </a:t>
                      </a:r>
                      <a:r>
                        <a:rPr lang="en-US" sz="2400" dirty="0" err="1" smtClean="0"/>
                        <a:t>Talend</a:t>
                      </a:r>
                      <a:endParaRPr lang="en-US" sz="2400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3347055"/>
              </p:ext>
            </p:extLst>
          </p:nvPr>
        </p:nvGraphicFramePr>
        <p:xfrm>
          <a:off x="4394579" y="1528549"/>
          <a:ext cx="2388358" cy="1446663"/>
        </p:xfrm>
        <a:graphic>
          <a:graphicData uri="http://schemas.openxmlformats.org/drawingml/2006/table">
            <a:tbl>
              <a:tblPr/>
              <a:tblGrid>
                <a:gridCol w="2388358"/>
              </a:tblGrid>
              <a:tr h="1446663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Creation Of Fact And Dimension Tables</a:t>
                      </a:r>
                      <a:endParaRPr lang="en-US" sz="2400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535338"/>
              </p:ext>
            </p:extLst>
          </p:nvPr>
        </p:nvGraphicFramePr>
        <p:xfrm>
          <a:off x="8379724" y="1528549"/>
          <a:ext cx="2470245" cy="1433015"/>
        </p:xfrm>
        <a:graphic>
          <a:graphicData uri="http://schemas.openxmlformats.org/drawingml/2006/table">
            <a:tbl>
              <a:tblPr/>
              <a:tblGrid>
                <a:gridCol w="2470245"/>
              </a:tblGrid>
              <a:tr h="1433015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Loading</a:t>
                      </a:r>
                      <a:r>
                        <a:rPr lang="en-US" sz="2400" baseline="0" dirty="0" smtClean="0"/>
                        <a:t> Data to </a:t>
                      </a:r>
                      <a:r>
                        <a:rPr lang="en-US" sz="2400" baseline="0" dirty="0" err="1" smtClean="0"/>
                        <a:t>Cloudera</a:t>
                      </a:r>
                      <a:endParaRPr lang="en-US" sz="2400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416706"/>
              </p:ext>
            </p:extLst>
          </p:nvPr>
        </p:nvGraphicFramePr>
        <p:xfrm>
          <a:off x="8379725" y="4121624"/>
          <a:ext cx="2470245" cy="1419367"/>
        </p:xfrm>
        <a:graphic>
          <a:graphicData uri="http://schemas.openxmlformats.org/drawingml/2006/table">
            <a:tbl>
              <a:tblPr/>
              <a:tblGrid>
                <a:gridCol w="2470245"/>
              </a:tblGrid>
              <a:tr h="1419367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Queries Using Hive</a:t>
                      </a:r>
                      <a:endParaRPr lang="en-US" sz="2400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2756563"/>
              </p:ext>
            </p:extLst>
          </p:nvPr>
        </p:nvGraphicFramePr>
        <p:xfrm>
          <a:off x="4394579" y="4135272"/>
          <a:ext cx="2333767" cy="1446662"/>
        </p:xfrm>
        <a:graphic>
          <a:graphicData uri="http://schemas.openxmlformats.org/drawingml/2006/table">
            <a:tbl>
              <a:tblPr/>
              <a:tblGrid>
                <a:gridCol w="2333767"/>
              </a:tblGrid>
              <a:tr h="1446662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Data Analysis Using </a:t>
                      </a:r>
                      <a:r>
                        <a:rPr lang="en-US" sz="2400" dirty="0" err="1" smtClean="0"/>
                        <a:t>Dataframes</a:t>
                      </a:r>
                      <a:endParaRPr lang="en-US" sz="2400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cxnSp>
        <p:nvCxnSpPr>
          <p:cNvPr id="13" name="Straight Arrow Connector 12"/>
          <p:cNvCxnSpPr>
            <a:endCxn id="6" idx="1"/>
          </p:cNvCxnSpPr>
          <p:nvPr/>
        </p:nvCxnSpPr>
        <p:spPr>
          <a:xfrm>
            <a:off x="3111690" y="2238233"/>
            <a:ext cx="1282889" cy="136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endCxn id="7" idx="1"/>
          </p:cNvCxnSpPr>
          <p:nvPr/>
        </p:nvCxnSpPr>
        <p:spPr>
          <a:xfrm>
            <a:off x="6782937" y="2238233"/>
            <a:ext cx="1596787" cy="68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endCxn id="8" idx="0"/>
          </p:cNvCxnSpPr>
          <p:nvPr/>
        </p:nvCxnSpPr>
        <p:spPr>
          <a:xfrm>
            <a:off x="9608024" y="2975212"/>
            <a:ext cx="6823" cy="11464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H="1" flipV="1">
            <a:off x="6782937" y="4831307"/>
            <a:ext cx="1596787" cy="272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2606722" y="395785"/>
            <a:ext cx="769733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 smtClean="0"/>
              <a:t>              </a:t>
            </a:r>
            <a:r>
              <a:rPr lang="en-US" sz="4800" dirty="0" smtClean="0">
                <a:solidFill>
                  <a:srgbClr val="7030A0"/>
                </a:solidFill>
              </a:rPr>
              <a:t>FLOW CHART</a:t>
            </a:r>
            <a:endParaRPr lang="en-US" sz="4800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8215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8737" y="2635155"/>
            <a:ext cx="4111935" cy="273367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545910" y="797087"/>
            <a:ext cx="41216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en-US" sz="360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oblem Description</a:t>
            </a:r>
            <a:endParaRPr lang="en-US" sz="3600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63775" y="1942238"/>
            <a:ext cx="7536977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400" lvl="1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800" dirty="0" smtClean="0"/>
              <a:t>Analyzing the flight details of 2015 data to get insights of U.S flights.</a:t>
            </a:r>
          </a:p>
          <a:p>
            <a:pPr marL="914400" lvl="1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800" dirty="0" smtClean="0"/>
              <a:t>Getting insights into flights route, there delays like arrival delay and departure delay and average delay of the various Airlines operating within the U.S.</a:t>
            </a:r>
          </a:p>
          <a:p>
            <a:pPr lvl="1">
              <a:lnSpc>
                <a:spcPct val="150000"/>
              </a:lnSpc>
            </a:pPr>
            <a:endParaRPr lang="en-US" sz="3200" dirty="0" smtClean="0"/>
          </a:p>
        </p:txBody>
      </p:sp>
    </p:spTree>
    <p:extLst>
      <p:ext uri="{BB962C8B-B14F-4D97-AF65-F5344CB8AC3E}">
        <p14:creationId xmlns:p14="http://schemas.microsoft.com/office/powerpoint/2010/main" val="3818750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689" y="3712191"/>
            <a:ext cx="3348380" cy="2410678"/>
          </a:xfrm>
          <a:prstGeom prst="rect">
            <a:avLst/>
          </a:prstGeom>
        </p:spPr>
      </p:pic>
      <p:sp>
        <p:nvSpPr>
          <p:cNvPr id="5" name="Right Arrow 4"/>
          <p:cNvSpPr/>
          <p:nvPr/>
        </p:nvSpPr>
        <p:spPr>
          <a:xfrm>
            <a:off x="5181600" y="4191000"/>
            <a:ext cx="1371600" cy="838200"/>
          </a:xfrm>
          <a:prstGeom prst="rightArrow">
            <a:avLst/>
          </a:prstGeom>
          <a:solidFill>
            <a:schemeClr val="bg2">
              <a:lumMod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646" r="73112" b="31311"/>
          <a:stretch/>
        </p:blipFill>
        <p:spPr>
          <a:xfrm>
            <a:off x="7141191" y="3534770"/>
            <a:ext cx="914400" cy="2372435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179102" y="392233"/>
            <a:ext cx="358396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dirty="0" smtClean="0">
                <a:solidFill>
                  <a:srgbClr val="7030A0"/>
                </a:solidFill>
              </a:rPr>
              <a:t>Data Cleaning</a:t>
            </a:r>
            <a:endParaRPr lang="en-US" sz="4000" dirty="0">
              <a:solidFill>
                <a:srgbClr val="7030A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69668" y="1436659"/>
            <a:ext cx="1032596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2400" dirty="0" smtClean="0"/>
              <a:t>With around 10 lakh rows of data to be analyzed ,data cleaning becomes a necessity to accelerate the analysis process.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2400" dirty="0" smtClean="0"/>
              <a:t>While most of the data present was clean and well structured, the date column was reorganized properly.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2400" dirty="0" smtClean="0"/>
              <a:t>Tools used include </a:t>
            </a:r>
            <a:r>
              <a:rPr lang="en-US" sz="2400" dirty="0" err="1" smtClean="0"/>
              <a:t>Talend</a:t>
            </a:r>
            <a:r>
              <a:rPr lang="en-US" sz="2400" dirty="0" smtClean="0"/>
              <a:t>.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849906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/>
          <p:nvPr/>
        </p:nvPicPr>
        <p:blipFill>
          <a:blip r:embed="rId2"/>
          <a:stretch>
            <a:fillRect/>
          </a:stretch>
        </p:blipFill>
        <p:spPr>
          <a:xfrm>
            <a:off x="805220" y="1345217"/>
            <a:ext cx="9539785" cy="4999396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129051" y="327546"/>
            <a:ext cx="64826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rgbClr val="7030A0"/>
                </a:solidFill>
              </a:rPr>
              <a:t>Fact And Dimension Table</a:t>
            </a:r>
            <a:endParaRPr lang="en-US" sz="3600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2483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3016" y="313898"/>
            <a:ext cx="10058400" cy="959438"/>
          </a:xfrm>
        </p:spPr>
        <p:txBody>
          <a:bodyPr>
            <a:normAutofit/>
          </a:bodyPr>
          <a:lstStyle/>
          <a:p>
            <a:r>
              <a:rPr lang="en-US" sz="4000" b="1" dirty="0" smtClean="0">
                <a:solidFill>
                  <a:srgbClr val="7030A0"/>
                </a:solidFill>
              </a:rPr>
              <a:t>Fact Table Creation</a:t>
            </a:r>
            <a:endParaRPr lang="en-US" sz="4000" b="1" dirty="0">
              <a:solidFill>
                <a:srgbClr val="7030A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3016" y="1928812"/>
            <a:ext cx="8993874" cy="3885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444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/>
          <p:nvPr/>
        </p:nvPicPr>
        <p:blipFill>
          <a:blip r:embed="rId2"/>
          <a:stretch>
            <a:fillRect/>
          </a:stretch>
        </p:blipFill>
        <p:spPr>
          <a:xfrm>
            <a:off x="1227159" y="1581741"/>
            <a:ext cx="9977651" cy="1207135"/>
          </a:xfrm>
          <a:prstGeom prst="rect">
            <a:avLst/>
          </a:prstGeom>
        </p:spPr>
      </p:pic>
      <p:pic>
        <p:nvPicPr>
          <p:cNvPr id="3" name="Picture 2"/>
          <p:cNvPicPr/>
          <p:nvPr/>
        </p:nvPicPr>
        <p:blipFill>
          <a:blip r:embed="rId3"/>
          <a:stretch>
            <a:fillRect/>
          </a:stretch>
        </p:blipFill>
        <p:spPr>
          <a:xfrm>
            <a:off x="1227159" y="2788876"/>
            <a:ext cx="9977651" cy="2082502"/>
          </a:xfrm>
          <a:prstGeom prst="rect">
            <a:avLst/>
          </a:prstGeom>
        </p:spPr>
      </p:pic>
      <p:pic>
        <p:nvPicPr>
          <p:cNvPr id="5" name="Picture 4"/>
          <p:cNvPicPr/>
          <p:nvPr/>
        </p:nvPicPr>
        <p:blipFill>
          <a:blip r:embed="rId2"/>
          <a:stretch>
            <a:fillRect/>
          </a:stretch>
        </p:blipFill>
        <p:spPr>
          <a:xfrm>
            <a:off x="1227159" y="4871378"/>
            <a:ext cx="9977650" cy="120713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227159" y="474003"/>
            <a:ext cx="97854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rgbClr val="7030A0"/>
                </a:solidFill>
              </a:rPr>
              <a:t>Creating And Loading Data into Dimension Tables</a:t>
            </a:r>
            <a:endParaRPr lang="en-US" sz="3600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32419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/>
          <p:nvPr/>
        </p:nvPicPr>
        <p:blipFill>
          <a:blip r:embed="rId2"/>
          <a:stretch>
            <a:fillRect/>
          </a:stretch>
        </p:blipFill>
        <p:spPr>
          <a:xfrm>
            <a:off x="614149" y="1542197"/>
            <a:ext cx="10795379" cy="4380931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14149" y="586854"/>
            <a:ext cx="71923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solidFill>
                  <a:srgbClr val="7030A0"/>
                </a:solidFill>
              </a:rPr>
              <a:t>Creating Fact Table And Loading Data</a:t>
            </a:r>
            <a:endParaRPr lang="en-US" sz="3200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8143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trospect">
  <a:themeElements>
    <a:clrScheme name="Violet II">
      <a:dk1>
        <a:sysClr val="windowText" lastClr="000000"/>
      </a:dk1>
      <a:lt1>
        <a:sysClr val="window" lastClr="FFFFFF"/>
      </a:lt1>
      <a:dk2>
        <a:srgbClr val="632E62"/>
      </a:dk2>
      <a:lt2>
        <a:srgbClr val="EAE5EB"/>
      </a:lt2>
      <a:accent1>
        <a:srgbClr val="92278F"/>
      </a:accent1>
      <a:accent2>
        <a:srgbClr val="9B57D3"/>
      </a:accent2>
      <a:accent3>
        <a:srgbClr val="755DD9"/>
      </a:accent3>
      <a:accent4>
        <a:srgbClr val="665EB8"/>
      </a:accent4>
      <a:accent5>
        <a:srgbClr val="45A5ED"/>
      </a:accent5>
      <a:accent6>
        <a:srgbClr val="5982DB"/>
      </a:accent6>
      <a:hlink>
        <a:srgbClr val="0066FF"/>
      </a:hlink>
      <a:folHlink>
        <a:srgbClr val="666699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243AF7DC-D15B-41C0-AE81-23980D1B9FC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1092</TotalTime>
  <Words>561</Words>
  <Application>Microsoft Office PowerPoint</Application>
  <PresentationFormat>Widescreen</PresentationFormat>
  <Paragraphs>56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Arial</vt:lpstr>
      <vt:lpstr>Arial Black</vt:lpstr>
      <vt:lpstr>Calibri</vt:lpstr>
      <vt:lpstr>Calibri Light</vt:lpstr>
      <vt:lpstr>Times New Roman</vt:lpstr>
      <vt:lpstr>Wingdings</vt:lpstr>
      <vt:lpstr>Retrospec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act Table Cre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arning</dc:creator>
  <cp:lastModifiedBy>learning</cp:lastModifiedBy>
  <cp:revision>108</cp:revision>
  <dcterms:created xsi:type="dcterms:W3CDTF">2020-03-02T09:51:08Z</dcterms:created>
  <dcterms:modified xsi:type="dcterms:W3CDTF">2020-03-07T10:33:31Z</dcterms:modified>
</cp:coreProperties>
</file>